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46" r:id="rId4"/>
  </p:sldMasterIdLst>
  <p:notesMasterIdLst>
    <p:notesMasterId r:id="rId6"/>
  </p:notesMasterIdLst>
  <p:handoutMasterIdLst>
    <p:handoutMasterId r:id="rId7"/>
  </p:handoutMasterIdLst>
  <p:sldIdLst>
    <p:sldId id="1003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erences" id="{3A7458DE-5C8B-3940-8EE1-8FB3063C652D}">
          <p14:sldIdLst>
            <p14:sldId id="100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958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orient="horz" pos="3317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10" pos="1141" userDrawn="1">
          <p15:clr>
            <a:srgbClr val="A4A3A4"/>
          </p15:clr>
        </p15:guide>
        <p15:guide id="12" pos="1958" userDrawn="1">
          <p15:clr>
            <a:srgbClr val="A4A3A4"/>
          </p15:clr>
        </p15:guide>
        <p15:guide id="13" pos="98" userDrawn="1">
          <p15:clr>
            <a:srgbClr val="A4A3A4"/>
          </p15:clr>
        </p15:guide>
        <p15:guide id="20" pos="6562" userDrawn="1">
          <p15:clr>
            <a:srgbClr val="A4A3A4"/>
          </p15:clr>
        </p15:guide>
        <p15:guide id="22" pos="7514" userDrawn="1">
          <p15:clr>
            <a:srgbClr val="A4A3A4"/>
          </p15:clr>
        </p15:guide>
        <p15:guide id="23" orient="horz" pos="572" userDrawn="1">
          <p15:clr>
            <a:srgbClr val="A4A3A4"/>
          </p15:clr>
        </p15:guide>
        <p15:guide id="24" orient="horz" pos="1911" userDrawn="1">
          <p15:clr>
            <a:srgbClr val="A4A3A4"/>
          </p15:clr>
        </p15:guide>
        <p15:guide id="25" pos="6085" userDrawn="1">
          <p15:clr>
            <a:srgbClr val="A4A3A4"/>
          </p15:clr>
        </p15:guide>
        <p15:guide id="26" pos="3568" userDrawn="1">
          <p15:clr>
            <a:srgbClr val="A4A3A4"/>
          </p15:clr>
        </p15:guide>
        <p15:guide id="2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C6FC"/>
    <a:srgbClr val="A9ABB0"/>
    <a:srgbClr val="FF2D5E"/>
    <a:srgbClr val="EFF0F0"/>
    <a:srgbClr val="F0F0F0"/>
    <a:srgbClr val="316195"/>
    <a:srgbClr val="003661"/>
    <a:srgbClr val="818283"/>
    <a:srgbClr val="818281"/>
    <a:srgbClr val="32619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34" autoAdjust="0"/>
    <p:restoredTop sz="95728" autoAdjust="0"/>
  </p:normalViewPr>
  <p:slideViewPr>
    <p:cSldViewPr snapToGrid="0">
      <p:cViewPr varScale="1">
        <p:scale>
          <a:sx n="55" d="100"/>
          <a:sy n="55" d="100"/>
        </p:scale>
        <p:origin x="1336" y="52"/>
      </p:cViewPr>
      <p:guideLst>
        <p:guide orient="horz" pos="958"/>
        <p:guide orient="horz" pos="2931"/>
        <p:guide orient="horz" pos="3317"/>
        <p:guide orient="horz" pos="4088"/>
        <p:guide pos="1141"/>
        <p:guide pos="1958"/>
        <p:guide pos="98"/>
        <p:guide pos="6562"/>
        <p:guide pos="7514"/>
        <p:guide orient="horz" pos="572"/>
        <p:guide orient="horz" pos="1911"/>
        <p:guide pos="6085"/>
        <p:guide pos="3568"/>
        <p:guide orient="horz" pos="18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226"/>
    </p:cViewPr>
  </p:sorterViewPr>
  <p:notesViewPr>
    <p:cSldViewPr snapToGrid="0">
      <p:cViewPr>
        <p:scale>
          <a:sx n="1" d="2"/>
          <a:sy n="1" d="2"/>
        </p:scale>
        <p:origin x="2648" y="-3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0" dt="2021-02-24T19:32:34.654" idx="1">
    <p:pos x="10" y="10"/>
    <p:text/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Graphik" panose="020B0503030202060203" pitchFamily="34" charset="0"/>
              </a:rPr>
              <a:t>‹#›</a:t>
            </a:fld>
            <a:endParaRPr lang="en-US" dirty="0"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079D89F4-6E37-4354-8F19-DC1465D5224F}" type="datetimeFigureOut">
              <a:rPr lang="en-US" smtClean="0"/>
              <a:pPr/>
              <a:t>4/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9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fo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334" y="1026712"/>
            <a:ext cx="4693104" cy="4804572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26999CB-095B-488B-8D8A-4858D7F890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11112" y="1098590"/>
            <a:ext cx="4198937" cy="722384"/>
          </a:xfrm>
        </p:spPr>
        <p:txBody>
          <a:bodyPr>
            <a:normAutofit/>
          </a:bodyPr>
          <a:lstStyle>
            <a:lvl1pPr>
              <a:defRPr sz="3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1111" y="1716068"/>
            <a:ext cx="6037165" cy="371168"/>
          </a:xfrm>
        </p:spPr>
        <p:txBody>
          <a:bodyPr>
            <a:normAutofit/>
          </a:bodyPr>
          <a:lstStyle>
            <a:lvl1pPr>
              <a:defRPr sz="20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419" y="4852410"/>
            <a:ext cx="2586954" cy="978873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Your Certifica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C78AB4F-45B3-417F-AAE5-B73BAEC47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11015" y="2361893"/>
            <a:ext cx="3061312" cy="371168"/>
          </a:xfrm>
        </p:spPr>
        <p:txBody>
          <a:bodyPr>
            <a:normAutofit/>
          </a:bodyPr>
          <a:lstStyle>
            <a:lvl1pPr>
              <a:defRPr sz="12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Background</a:t>
            </a:r>
          </a:p>
          <a:p>
            <a:pPr lvl="0"/>
            <a:endParaRPr lang="de-DE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A2479959-AAF6-4E8D-8C46-C3F6579556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1419" y="2361893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b="0" kern="1200" cap="none" baseline="0" noProof="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eas of Expertise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F6517EA-1FD7-45D7-98A9-7550BEBCA3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61419" y="4481242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rtifications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61419" y="2733061"/>
            <a:ext cx="2586954" cy="1638914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Expertis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11111" y="2733061"/>
            <a:ext cx="3061313" cy="3098222"/>
          </a:xfrm>
        </p:spPr>
        <p:txBody>
          <a:bodyPr>
            <a:normAutofit/>
          </a:bodyPr>
          <a:lstStyle>
            <a:lvl1pPr marL="55561" indent="0"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</p:spTree>
    <p:extLst>
      <p:ext uri="{BB962C8B-B14F-4D97-AF65-F5344CB8AC3E}">
        <p14:creationId xmlns:p14="http://schemas.microsoft.com/office/powerpoint/2010/main" val="415771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Develop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54" y="775188"/>
            <a:ext cx="2694202" cy="27581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129" y="775188"/>
            <a:ext cx="2859871" cy="379156"/>
          </a:xfrm>
        </p:spPr>
        <p:txBody>
          <a:bodyPr tIns="0" bIns="0" anchor="ctr">
            <a:normAutofit/>
          </a:bodyPr>
          <a:lstStyle>
            <a:lvl1pPr marL="0" indent="0">
              <a:defRPr sz="2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6129" y="1165480"/>
            <a:ext cx="2859873" cy="307160"/>
          </a:xfrm>
        </p:spPr>
        <p:txBody>
          <a:bodyPr tIns="0" bIns="0" anchor="ctr">
            <a:noAutofit/>
          </a:bodyPr>
          <a:lstStyle>
            <a:lvl1pPr marL="0" indent="0">
              <a:defRPr sz="18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1285" y="5506360"/>
            <a:ext cx="5324962" cy="795684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ustries you worked with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31280" y="4055319"/>
            <a:ext cx="5324965" cy="1093435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Skills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753" y="4055319"/>
            <a:ext cx="5212694" cy="2246723"/>
          </a:xfrm>
        </p:spPr>
        <p:txBody>
          <a:bodyPr tIns="72000" bIns="7200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41C4C-1601-4721-B8EC-1A0F48922D7E}"/>
              </a:ext>
            </a:extLst>
          </p:cNvPr>
          <p:cNvSpPr txBox="1"/>
          <p:nvPr userDrawn="1"/>
        </p:nvSpPr>
        <p:spPr>
          <a:xfrm>
            <a:off x="435755" y="382654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marL="0" lvl="0" indent="0"/>
            <a:r>
              <a:rPr lang="de-DE" dirty="0"/>
              <a:t>Professional Backgro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E96447-F5C5-453E-9E3C-9D163F44846C}"/>
              </a:ext>
            </a:extLst>
          </p:cNvPr>
          <p:cNvSpPr txBox="1"/>
          <p:nvPr userDrawn="1"/>
        </p:nvSpPr>
        <p:spPr>
          <a:xfrm>
            <a:off x="6431283" y="77518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0800" indent="0"/>
            <a:r>
              <a:rPr lang="de-DE" sz="1400" b="1" kern="1200" cap="none" baseline="0" dirty="0">
                <a:solidFill>
                  <a:srgbClr val="18C6FC"/>
                </a:solidFill>
                <a:latin typeface="Graphik" panose="020B0503030202060203" pitchFamily="34" charset="0"/>
                <a:ea typeface="+mn-ea"/>
                <a:cs typeface="+mn-cs"/>
              </a:rPr>
              <a:t>Relevant Job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FD7A-A305-4C43-B0F1-749132F872E8}"/>
              </a:ext>
            </a:extLst>
          </p:cNvPr>
          <p:cNvSpPr txBox="1"/>
          <p:nvPr userDrawn="1"/>
        </p:nvSpPr>
        <p:spPr>
          <a:xfrm>
            <a:off x="6431283" y="527758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Industries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F8C6E2C7-E14A-42A4-9B33-418BB68472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1283" y="1036798"/>
            <a:ext cx="5324962" cy="2660916"/>
          </a:xfrm>
          <a:prstGeom prst="rect">
            <a:avLst/>
          </a:prstGeom>
        </p:spPr>
        <p:txBody>
          <a:bodyPr tIns="72000" bIns="72000">
            <a:noAutofit/>
          </a:bodyPr>
          <a:lstStyle>
            <a:lvl1pPr marL="53975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0" indent="0">
              <a:buNone/>
              <a:defRPr/>
            </a:lvl2pPr>
            <a:lvl7pPr marL="55561" indent="0">
              <a:buNone/>
              <a:defRPr/>
            </a:lvl7pPr>
            <a:lvl8pPr marL="55561" indent="0">
              <a:buNone/>
              <a:defRPr/>
            </a:lvl8pPr>
          </a:lstStyle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ject 1</a:t>
            </a:r>
          </a:p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teST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FE0E2C-904A-4EEE-843C-317E49316B3C}"/>
              </a:ext>
            </a:extLst>
          </p:cNvPr>
          <p:cNvSpPr txBox="1"/>
          <p:nvPr userDrawn="1"/>
        </p:nvSpPr>
        <p:spPr>
          <a:xfrm>
            <a:off x="6431281" y="382654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Areas of Expertise 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CDB53D-5997-46A2-86CA-DD2397AE77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415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23F0DAC3-B000-4B6F-84F0-1C69E03C5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998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23F0DAC3-B000-4B6F-84F0-1C69E03C5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929F9CB-D78F-47BF-BD85-E7F1865A0F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7" name="Straight Connector 76">
            <a:extLst>
              <a:ext uri="{FF2B5EF4-FFF2-40B4-BE49-F238E27FC236}">
                <a16:creationId xmlns:a16="http://schemas.microsoft.com/office/drawing/2014/main" id="{BBA6F41D-E313-45F8-8EB1-5D4E98485D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3">
            <a:extLst>
              <a:ext uri="{FF2B5EF4-FFF2-40B4-BE49-F238E27FC236}">
                <a16:creationId xmlns:a16="http://schemas.microsoft.com/office/drawing/2014/main" id="{1D3B50A8-E61E-4497-AF34-4A7BAD921A3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9" name="TextBox 74">
            <a:extLst>
              <a:ext uri="{FF2B5EF4-FFF2-40B4-BE49-F238E27FC236}">
                <a16:creationId xmlns:a16="http://schemas.microsoft.com/office/drawing/2014/main" id="{CB581BF0-D5CF-4253-AABC-1851366635A8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08235F3F-3208-4021-A38C-293BB53DDBF1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11" name="Straight Connector 77">
            <a:extLst>
              <a:ext uri="{FF2B5EF4-FFF2-40B4-BE49-F238E27FC236}">
                <a16:creationId xmlns:a16="http://schemas.microsoft.com/office/drawing/2014/main" id="{C212747B-83BD-49A5-B6D5-A9FF8AB024A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8">
            <a:extLst>
              <a:ext uri="{FF2B5EF4-FFF2-40B4-BE49-F238E27FC236}">
                <a16:creationId xmlns:a16="http://schemas.microsoft.com/office/drawing/2014/main" id="{491642C6-CEB5-41B4-8E2E-7C5DB84844E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1">
            <a:extLst>
              <a:ext uri="{FF2B5EF4-FFF2-40B4-BE49-F238E27FC236}">
                <a16:creationId xmlns:a16="http://schemas.microsoft.com/office/drawing/2014/main" id="{B9234442-B252-42DE-8E0C-C95637F7B6AB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0">
            <a:extLst>
              <a:ext uri="{FF2B5EF4-FFF2-40B4-BE49-F238E27FC236}">
                <a16:creationId xmlns:a16="http://schemas.microsoft.com/office/drawing/2014/main" id="{9BB24E25-B98D-448A-A4CC-8D7919866873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1">
            <a:extLst>
              <a:ext uri="{FF2B5EF4-FFF2-40B4-BE49-F238E27FC236}">
                <a16:creationId xmlns:a16="http://schemas.microsoft.com/office/drawing/2014/main" id="{3B967E5D-4A09-4E74-B613-6534CD066B67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42" name="TextBox 52">
            <a:extLst>
              <a:ext uri="{FF2B5EF4-FFF2-40B4-BE49-F238E27FC236}">
                <a16:creationId xmlns:a16="http://schemas.microsoft.com/office/drawing/2014/main" id="{7866663C-4EFE-4AEB-9D00-8D0E0E617FB4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43" name="Straight Connector 53">
            <a:extLst>
              <a:ext uri="{FF2B5EF4-FFF2-40B4-BE49-F238E27FC236}">
                <a16:creationId xmlns:a16="http://schemas.microsoft.com/office/drawing/2014/main" id="{D4C6AF35-F476-4369-A03F-6270CB2776D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CFA1D5B-C13B-46FC-9854-0340CBC863F5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1EA7CD5F-FE88-4562-AB12-418657B6DFE4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Box 56">
            <a:extLst>
              <a:ext uri="{FF2B5EF4-FFF2-40B4-BE49-F238E27FC236}">
                <a16:creationId xmlns:a16="http://schemas.microsoft.com/office/drawing/2014/main" id="{D03AC6F4-0FEF-4FD7-86C2-8E00A3DB1B94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47" name="Rectangle 57">
            <a:extLst>
              <a:ext uri="{FF2B5EF4-FFF2-40B4-BE49-F238E27FC236}">
                <a16:creationId xmlns:a16="http://schemas.microsoft.com/office/drawing/2014/main" id="{7D6FD44F-87B1-4698-87F4-3DF1CBAC0648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F0057B15-BB3E-4E0D-A8D8-07652A463DB0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CB3C9791-0EB8-41F7-93DE-DBFFC4B03634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014CD3FA-65B4-409B-9746-C7D829C98EBD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1" name="Rectangle 61">
            <a:extLst>
              <a:ext uri="{FF2B5EF4-FFF2-40B4-BE49-F238E27FC236}">
                <a16:creationId xmlns:a16="http://schemas.microsoft.com/office/drawing/2014/main" id="{81C3C769-5142-404D-A016-3F678A9A1B6E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2" name="TextBox 65">
            <a:extLst>
              <a:ext uri="{FF2B5EF4-FFF2-40B4-BE49-F238E27FC236}">
                <a16:creationId xmlns:a16="http://schemas.microsoft.com/office/drawing/2014/main" id="{2E530266-6DE9-488E-96E0-87C017D79D9B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53" name="Rectangle 66">
            <a:extLst>
              <a:ext uri="{FF2B5EF4-FFF2-40B4-BE49-F238E27FC236}">
                <a16:creationId xmlns:a16="http://schemas.microsoft.com/office/drawing/2014/main" id="{F65471BF-488B-416F-BE74-29FF86568453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Rectangle 67">
            <a:extLst>
              <a:ext uri="{FF2B5EF4-FFF2-40B4-BE49-F238E27FC236}">
                <a16:creationId xmlns:a16="http://schemas.microsoft.com/office/drawing/2014/main" id="{46FB61B3-3E3C-4086-BB00-2CC5DA45D4D9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5" name="Rectangle 68">
            <a:extLst>
              <a:ext uri="{FF2B5EF4-FFF2-40B4-BE49-F238E27FC236}">
                <a16:creationId xmlns:a16="http://schemas.microsoft.com/office/drawing/2014/main" id="{03C8223E-3FFB-412F-B164-96B4B36DB06A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TextBox 69">
            <a:extLst>
              <a:ext uri="{FF2B5EF4-FFF2-40B4-BE49-F238E27FC236}">
                <a16:creationId xmlns:a16="http://schemas.microsoft.com/office/drawing/2014/main" id="{4591C5CD-FFF6-4B25-BB29-0A01842248E4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57" name="TextBox 70">
            <a:extLst>
              <a:ext uri="{FF2B5EF4-FFF2-40B4-BE49-F238E27FC236}">
                <a16:creationId xmlns:a16="http://schemas.microsoft.com/office/drawing/2014/main" id="{36C75FED-D5D7-424B-8913-3D1995DA32A2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sp>
        <p:nvSpPr>
          <p:cNvPr id="59" name="TextBox 72">
            <a:extLst>
              <a:ext uri="{FF2B5EF4-FFF2-40B4-BE49-F238E27FC236}">
                <a16:creationId xmlns:a16="http://schemas.microsoft.com/office/drawing/2014/main" id="{43F2350B-1404-40B6-B836-3BA6B3FBD9DD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cxnSp>
        <p:nvCxnSpPr>
          <p:cNvPr id="60" name="Straight Connector 80">
            <a:extLst>
              <a:ext uri="{FF2B5EF4-FFF2-40B4-BE49-F238E27FC236}">
                <a16:creationId xmlns:a16="http://schemas.microsoft.com/office/drawing/2014/main" id="{72185DED-72FD-4FB0-9F60-45A26B4BFE55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2">
            <a:extLst>
              <a:ext uri="{FF2B5EF4-FFF2-40B4-BE49-F238E27FC236}">
                <a16:creationId xmlns:a16="http://schemas.microsoft.com/office/drawing/2014/main" id="{E0F06220-6FF3-47E4-840F-13E7200E2DBF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3</a:t>
            </a:r>
          </a:p>
        </p:txBody>
      </p:sp>
      <p:sp>
        <p:nvSpPr>
          <p:cNvPr id="62" name="TextBox 79">
            <a:extLst>
              <a:ext uri="{FF2B5EF4-FFF2-40B4-BE49-F238E27FC236}">
                <a16:creationId xmlns:a16="http://schemas.microsoft.com/office/drawing/2014/main" id="{6A53A6F6-CEFF-4115-96DA-98B11BE79307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614561-BB57-4B5F-90B0-7E06AC524056}"/>
              </a:ext>
            </a:extLst>
          </p:cNvPr>
          <p:cNvSpPr/>
          <p:nvPr userDrawn="1"/>
        </p:nvSpPr>
        <p:spPr>
          <a:xfrm>
            <a:off x="381000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enture for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didas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201204-F6DF-4B9C-8AF1-FB195B48BB22}"/>
              </a:ext>
            </a:extLst>
          </p:cNvPr>
          <p:cNvSpPr/>
          <p:nvPr userDrawn="1"/>
        </p:nvSpPr>
        <p:spPr>
          <a:xfrm>
            <a:off x="11685966" y="6597045"/>
            <a:ext cx="125034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/>
          <a:p>
            <a:pPr lvl="0" algn="r"/>
            <a:fld id="{4F9AC08D-23A9-440E-BCB9-AA1E9877CC38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lvl="0" algn="r"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8B71D5-786E-4B50-9526-18AF2C6EFAAA}"/>
              </a:ext>
            </a:extLst>
          </p:cNvPr>
          <p:cNvSpPr/>
          <p:nvPr userDrawn="1"/>
        </p:nvSpPr>
        <p:spPr>
          <a:xfrm>
            <a:off x="9069365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9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9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  <p15:guide id="1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ushiraj.p.desai@accenture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1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4DE99-BEEA-4365-8BBE-0A6FA6F4C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e-DE" dirty="0"/>
              <a:t>Ram Prakash Sing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8735A-254D-4E1E-81A4-B2AE1F22D2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36129" y="1089329"/>
            <a:ext cx="2859873" cy="2444053"/>
          </a:xfrm>
        </p:spPr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Lead Developer</a:t>
            </a:r>
          </a:p>
          <a:p>
            <a:r>
              <a:rPr lang="de-DE" sz="1200" dirty="0">
                <a:hlinkClick r:id="rId3"/>
              </a:rPr>
              <a:t>ram.prakash.singh@accenture.com</a:t>
            </a:r>
            <a:endParaRPr lang="de-DE" sz="1200" dirty="0"/>
          </a:p>
          <a:p>
            <a:r>
              <a:rPr lang="de-DE" sz="1200" dirty="0"/>
              <a:t>+91 9953875097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891E8-3753-4ABC-929A-6E0021D3D9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31285" y="5506359"/>
            <a:ext cx="5324962" cy="982575"/>
          </a:xfrm>
        </p:spPr>
        <p:txBody>
          <a:bodyPr/>
          <a:lstStyle/>
          <a:p>
            <a:r>
              <a:rPr lang="de-DE" dirty="0"/>
              <a:t>Ecommerce</a:t>
            </a:r>
          </a:p>
          <a:p>
            <a:r>
              <a:rPr lang="de-DE" dirty="0"/>
              <a:t>Retail</a:t>
            </a:r>
          </a:p>
          <a:p>
            <a:r>
              <a:rPr lang="de-DE" dirty="0"/>
              <a:t>Banking &amp; Mortgage Insurance</a:t>
            </a:r>
          </a:p>
          <a:p>
            <a:r>
              <a:rPr lang="de-DE" dirty="0"/>
              <a:t>Manufacturing(AWS IOT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F4768-E487-438E-92AA-3C6DFEF0356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31277" y="4055320"/>
            <a:ext cx="5324965" cy="1177692"/>
          </a:xfrm>
        </p:spPr>
        <p:txBody>
          <a:bodyPr numCol="4"/>
          <a:lstStyle/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ava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pringWebFlux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pringBoo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RES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Microservice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OAP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Hibernate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AWS(Lambda, IOT, Kinesis, S3, Dynamo &amp; Aurora DB, API gatway, CI/CD etc)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Docker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Redis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Kafka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QL/No-SQL DB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elenium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uni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C7C62D-4A27-4DA0-9961-8457B66E208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5753" y="4055319"/>
            <a:ext cx="5212694" cy="2027493"/>
          </a:xfrm>
        </p:spPr>
        <p:txBody>
          <a:bodyPr/>
          <a:lstStyle/>
          <a:p>
            <a:r>
              <a:rPr lang="en-US" dirty="0"/>
              <a:t>11 years experience in design and implementation of web application, object oriented, frameworks &amp; cloud architecture in various business domains. Experienced in managing, leading development &amp; integration projects, test and business driven development, product development.</a:t>
            </a:r>
          </a:p>
          <a:p>
            <a:r>
              <a:rPr lang="en-US" dirty="0"/>
              <a:t>Experienced in microservices, monolithic, Java, Reactive programming, AWS, Docker, Kafka, Redis, SAML applications, open-source technologies such as spring/spring boot/Spring Web Flux, Hibernate, JPA, application servers, version control, build and deployment tools, SQL/NO-SQL databases, UI(JavaScript) tech stack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929CDA-C09D-4B9F-B774-E05CE14E2D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31280" y="964766"/>
            <a:ext cx="5324962" cy="2857426"/>
          </a:xfrm>
        </p:spPr>
        <p:txBody>
          <a:bodyPr/>
          <a:lstStyle/>
          <a:p>
            <a:pPr algn="just"/>
            <a:r>
              <a:rPr lang="de-DE" b="1" dirty="0"/>
              <a:t>Fulfillment Service- Adidas</a:t>
            </a:r>
          </a:p>
          <a:p>
            <a:pPr algn="just"/>
            <a:r>
              <a:rPr lang="de-DE" dirty="0"/>
              <a:t>Delivery lead for Ecommerce microservice based application for scrum team. Tech stack such as Java, SpringBoot, Reactive Programming using SpringWebFlux, Redis, Postgres db, Docker, Kubernetes, Jenkins, Junit, Sonar.</a:t>
            </a:r>
          </a:p>
          <a:p>
            <a:pPr algn="just"/>
            <a:r>
              <a:rPr lang="de-DE" b="1" dirty="0"/>
              <a:t>Taxation – Adidas</a:t>
            </a:r>
          </a:p>
          <a:p>
            <a:pPr algn="just"/>
            <a:r>
              <a:rPr lang="de-DE" dirty="0"/>
              <a:t>Lead developer for Ecommerce microservice based application for scrum team. Tech stack such as Java, SpringBoot, Reactive Programming using SpringWebFlux, Junit.</a:t>
            </a:r>
          </a:p>
          <a:p>
            <a:pPr algn="just"/>
            <a:r>
              <a:rPr lang="de-DE" b="1" dirty="0"/>
              <a:t>Business On Line(Corporate banking) – Bank Of Ireland Client. Location: Ireland.</a:t>
            </a:r>
          </a:p>
          <a:p>
            <a:pPr algn="just"/>
            <a:r>
              <a:rPr lang="de-DE" dirty="0"/>
              <a:t>Delivery lead for Corporate Banking web application for scrum team. Agile software develoment methodology. Tech stack such as Java, Spring, Oracle, Coolgen, Mainframe.</a:t>
            </a:r>
          </a:p>
          <a:p>
            <a:pPr defTabSz="912813">
              <a:defRPr/>
            </a:pPr>
            <a:r>
              <a:rPr lang="en-US" b="1" dirty="0"/>
              <a:t>Machine to Machine – </a:t>
            </a:r>
            <a:r>
              <a:rPr lang="en-US" b="1" dirty="0" err="1"/>
              <a:t>Yanmar</a:t>
            </a:r>
            <a:r>
              <a:rPr lang="en-US" b="1" dirty="0"/>
              <a:t> Agriculture Equipment Client . Location: Japan &amp; India. </a:t>
            </a:r>
          </a:p>
          <a:p>
            <a:pPr defTabSz="912813">
              <a:defRPr/>
            </a:pPr>
            <a:r>
              <a:rPr lang="en-US" dirty="0">
                <a:solidFill>
                  <a:srgbClr val="000000"/>
                </a:solidFill>
              </a:rPr>
              <a:t>Delivery lead for Cloud  based application for scrum team. </a:t>
            </a:r>
            <a:r>
              <a:rPr lang="de-DE" dirty="0"/>
              <a:t>Agile software development methodology. Tech stack Java, AWS, Docker, Junit, Sonar.</a:t>
            </a:r>
          </a:p>
          <a:p>
            <a:pPr defTabSz="912813">
              <a:defRPr/>
            </a:pPr>
            <a:endParaRPr lang="de-DE" dirty="0"/>
          </a:p>
          <a:p>
            <a:pPr defTabSz="912813">
              <a:defRPr/>
            </a:pPr>
            <a:endParaRPr lang="de-DE" b="1" dirty="0"/>
          </a:p>
          <a:p>
            <a:pPr defTabSz="912813">
              <a:defRPr/>
            </a:pPr>
            <a:endParaRPr lang="de-DE" b="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4964E9-198B-45EE-B221-0F0EB78A3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145" y="405755"/>
            <a:ext cx="4878355" cy="269304"/>
          </a:xfrm>
        </p:spPr>
        <p:txBody>
          <a:bodyPr/>
          <a:lstStyle/>
          <a:p>
            <a:r>
              <a:rPr lang="de-DE" dirty="0"/>
              <a:t>Lead Developer 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93F49556-09E4-4C3E-B89B-955D8F95E50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/>
          <a:srcRect t="5421" b="5421"/>
          <a:stretch>
            <a:fillRect/>
          </a:stretch>
        </p:blipFill>
        <p:spPr>
          <a:xfrm>
            <a:off x="434975" y="774700"/>
            <a:ext cx="2374900" cy="2759075"/>
          </a:xfrm>
        </p:spPr>
      </p:pic>
    </p:spTree>
    <p:extLst>
      <p:ext uri="{BB962C8B-B14F-4D97-AF65-F5344CB8AC3E}">
        <p14:creationId xmlns:p14="http://schemas.microsoft.com/office/powerpoint/2010/main" val="3153843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Heinz: Please rewrite action title to have a speaking title and mark when ready for re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U8a7.TTjLVHHRJY6VUw"/>
</p:tagLst>
</file>

<file path=ppt/theme/theme1.xml><?xml version="1.0" encoding="utf-8"?>
<a:theme xmlns:a="http://schemas.openxmlformats.org/drawingml/2006/main" name="Template CV">
  <a:themeElements>
    <a:clrScheme name="Adidas 6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18C6FC"/>
      </a:accent1>
      <a:accent2>
        <a:srgbClr val="A9ABB0"/>
      </a:accent2>
      <a:accent3>
        <a:srgbClr val="9299A2"/>
      </a:accent3>
      <a:accent4>
        <a:srgbClr val="2B7CB4"/>
      </a:accent4>
      <a:accent5>
        <a:srgbClr val="8DACCB"/>
      </a:accent5>
      <a:accent6>
        <a:srgbClr val="32364D"/>
      </a:accent6>
      <a:hlink>
        <a:srgbClr val="18C6FC"/>
      </a:hlink>
      <a:folHlink>
        <a:srgbClr val="8DACCB"/>
      </a:folHlink>
    </a:clrScheme>
    <a:fontScheme name="Custom 1">
      <a:majorFont>
        <a:latin typeface="Graphik Semi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enture Default Template.pptx" id="{CF2CEBB2-8931-45C7-96F3-AD67A283546F}" vid="{1B0ED6FE-689D-4909-9E8D-E85CA0F43E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17BEE8B6D714EBCC7FBAF3F825B5D" ma:contentTypeVersion="11" ma:contentTypeDescription="Create a new document." ma:contentTypeScope="" ma:versionID="429f052f845bc15f45111bfb28aac12e">
  <xsd:schema xmlns:xsd="http://www.w3.org/2001/XMLSchema" xmlns:xs="http://www.w3.org/2001/XMLSchema" xmlns:p="http://schemas.microsoft.com/office/2006/metadata/properties" xmlns:ns2="ca6797a4-14fc-4e72-9eb2-d0b9b77ec08b" xmlns:ns3="f1a585c5-e07e-42e1-8f5c-6ee6668a3311" targetNamespace="http://schemas.microsoft.com/office/2006/metadata/properties" ma:root="true" ma:fieldsID="8fb70062f1be22ef7ae601eb1f18a15d" ns2:_="" ns3:_="">
    <xsd:import namespace="ca6797a4-14fc-4e72-9eb2-d0b9b77ec08b"/>
    <xsd:import namespace="f1a585c5-e07e-42e1-8f5c-6ee6668a3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797a4-14fc-4e72-9eb2-d0b9b77ec0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585c5-e07e-42e1-8f5c-6ee6668a3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a585c5-e07e-42e1-8f5c-6ee6668a3311">
      <UserInfo>
        <DisplayName>Popat, Sonya</DisplayName>
        <AccountId>65</AccountId>
        <AccountType/>
      </UserInfo>
      <UserInfo>
        <DisplayName>Chi, Anni</DisplayName>
        <AccountId>70</AccountId>
        <AccountType/>
      </UserInfo>
      <UserInfo>
        <DisplayName>van Wersch, Yuri</DisplayName>
        <AccountId>7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8F3ACF-68FA-489D-A976-F10BA05877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6797a4-14fc-4e72-9eb2-d0b9b77ec08b"/>
    <ds:schemaRef ds:uri="f1a585c5-e07e-42e1-8f5c-6ee6668a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67B8DC-2A3D-4FEC-9E06-00B701A5402F}">
  <ds:schemaRefs>
    <ds:schemaRef ds:uri="http://schemas.microsoft.com/office/2006/metadata/properties"/>
    <ds:schemaRef ds:uri="http://schemas.microsoft.com/office/infopath/2007/PartnerControls"/>
    <ds:schemaRef ds:uri="f1a585c5-e07e-42e1-8f5c-6ee6668a3311"/>
  </ds:schemaRefs>
</ds:datastoreItem>
</file>

<file path=customXml/itemProps3.xml><?xml version="1.0" encoding="utf-8"?>
<ds:datastoreItem xmlns:ds="http://schemas.openxmlformats.org/officeDocument/2006/customXml" ds:itemID="{EC6460E2-D6ED-4F08-A5EA-25AF3189AE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170816</Template>
  <TotalTime>0</TotalTime>
  <Words>334</Words>
  <Application>Microsoft Office PowerPoint</Application>
  <PresentationFormat>Widescreen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raphik</vt:lpstr>
      <vt:lpstr>Graphik Light</vt:lpstr>
      <vt:lpstr>Graphik Regular</vt:lpstr>
      <vt:lpstr>Graphik Semibold</vt:lpstr>
      <vt:lpstr>Template CV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FA DXP - Accenture Interactive Answer</dc:title>
  <dc:creator/>
  <cp:lastModifiedBy/>
  <cp:revision>2</cp:revision>
  <dcterms:created xsi:type="dcterms:W3CDTF">2020-02-19T08:47:07Z</dcterms:created>
  <dcterms:modified xsi:type="dcterms:W3CDTF">2022-04-07T13:0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02-28T13:18:33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e9b9c586-49ae-4b68-a0ff-0000b0e977d0</vt:lpwstr>
  </property>
  <property fmtid="{D5CDD505-2E9C-101B-9397-08002B2CF9AE}" pid="9" name="MSIP_Label_1bc0f418-96a4-4caf-9d7c-ccc5ec7f9d91_ContentBits">
    <vt:lpwstr>0</vt:lpwstr>
  </property>
</Properties>
</file>